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14000" y="3024000"/>
            <a:ext cx="3744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4158000" y="3024000"/>
            <a:ext cx="3744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89" name="Rectangle 88"/>
          <p:cNvSpPr/>
          <p:nvPr/>
        </p:nvSpPr>
        <p:spPr>
          <a:xfrm>
            <a:off x="7902000" y="3024000"/>
            <a:ext cx="3744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